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4"/>
  </p:sldMasterIdLst>
  <p:notesMasterIdLst>
    <p:notesMasterId r:id="rId21"/>
  </p:notesMasterIdLst>
  <p:handoutMasterIdLst>
    <p:handoutMasterId r:id="rId22"/>
  </p:handoutMasterIdLst>
  <p:sldIdLst>
    <p:sldId id="538" r:id="rId5"/>
    <p:sldId id="543" r:id="rId6"/>
    <p:sldId id="631" r:id="rId7"/>
    <p:sldId id="692" r:id="rId8"/>
    <p:sldId id="701" r:id="rId9"/>
    <p:sldId id="693" r:id="rId10"/>
    <p:sldId id="695" r:id="rId11"/>
    <p:sldId id="696" r:id="rId12"/>
    <p:sldId id="669" r:id="rId13"/>
    <p:sldId id="700" r:id="rId14"/>
    <p:sldId id="680" r:id="rId15"/>
    <p:sldId id="689" r:id="rId16"/>
    <p:sldId id="687" r:id="rId17"/>
    <p:sldId id="697" r:id="rId18"/>
    <p:sldId id="686" r:id="rId19"/>
    <p:sldId id="688" r:id="rId20"/>
  </p:sldIdLst>
  <p:sldSz cx="9144000" cy="5143500" type="screen16x9"/>
  <p:notesSz cx="6797675" cy="9928225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del Nicole" initials="HN" lastIdx="56" clrIdx="0"/>
  <p:cmAuthor id="1" name="Weber Martin" initials="WM" lastIdx="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10000"/>
    <a:srgbClr val="FF9900"/>
    <a:srgbClr val="404545"/>
    <a:srgbClr val="EB7D17"/>
    <a:srgbClr val="FFFFFF"/>
    <a:srgbClr val="878786"/>
    <a:srgbClr val="414545"/>
    <a:srgbClr val="EC7D17"/>
    <a:srgbClr val="009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175" autoAdjust="0"/>
    <p:restoredTop sz="96433" autoAdjust="0"/>
  </p:normalViewPr>
  <p:slideViewPr>
    <p:cSldViewPr snapToGrid="0" showGuides="1">
      <p:cViewPr varScale="1">
        <p:scale>
          <a:sx n="142" d="100"/>
          <a:sy n="142" d="100"/>
        </p:scale>
        <p:origin x="306" y="12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62" d="100"/>
          <a:sy n="62" d="100"/>
        </p:scale>
        <p:origin x="3240" y="77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A06049-58E1-42D3-8282-D30C681F3D6F}" type="datetimeFigureOut">
              <a:rPr lang="en-US" smtClean="0"/>
              <a:t>1/28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3C7DD9-47AC-4543-9DEE-DD6565EE387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5519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C35F1E-4581-4474-9650-CA91B391CA0D}" type="datetimeFigureOut">
              <a:rPr lang="en-US" smtClean="0"/>
              <a:t>1/28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CD1CC0-A7D6-4686-A9BF-9AE23CBCDC6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628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4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2610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5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5543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6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8010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7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5788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8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647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9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54752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10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2555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12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67409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>
            <a:extLst>
              <a:ext uri="{FF2B5EF4-FFF2-40B4-BE49-F238E27FC236}">
                <a16:creationId xmlns:a16="http://schemas.microsoft.com/office/drawing/2014/main" id="{8AE0A7B7-8E53-4C31-B994-E5E1F0CB63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blipFill dpi="0" rotWithShape="0">
                  <a:blip xmlns:r="http://schemas.openxmlformats.org/officeDocument/2006/relationships" r:embed="rId3"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1pPr>
            <a:lvl2pPr marL="742950" indent="-28575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2pPr>
            <a:lvl3pPr marL="11430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3pPr>
            <a:lvl4pPr marL="16002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4pPr>
            <a:lvl5pPr marL="2057400" indent="-228600" eaLnBrk="0" hangingPunct="0"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Gill Sans" pitchFamily="1" charset="0"/>
                <a:ea typeface="ヒラギノ角ゴ Pro W3" pitchFamily="1" charset="-128"/>
                <a:sym typeface="Gill Sans" pitchFamily="1" charset="0"/>
              </a:defRPr>
            </a:lvl9pPr>
          </a:lstStyle>
          <a:p>
            <a:pPr eaLnBrk="1" hangingPunct="1"/>
            <a:fld id="{1C301EED-F29E-453F-AEFE-9A6975BCB986}" type="slidenum">
              <a:rPr lang="en-US" altLang="de-DE" sz="1200"/>
              <a:pPr eaLnBrk="1" hangingPunct="1"/>
              <a:t>16</a:t>
            </a:fld>
            <a:endParaRPr lang="en-US" altLang="de-DE" sz="1200"/>
          </a:p>
        </p:txBody>
      </p:sp>
      <p:sp>
        <p:nvSpPr>
          <p:cNvPr id="88067" name="Rectangle 2">
            <a:extLst>
              <a:ext uri="{FF2B5EF4-FFF2-40B4-BE49-F238E27FC236}">
                <a16:creationId xmlns:a16="http://schemas.microsoft.com/office/drawing/2014/main" id="{6B56E200-1E4D-4B37-BA7A-CE2E84D01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>
            <a:extLst>
              <a:ext uri="{FF2B5EF4-FFF2-40B4-BE49-F238E27FC236}">
                <a16:creationId xmlns:a16="http://schemas.microsoft.com/office/drawing/2014/main" id="{2375AE61-E5D7-4C6C-8677-DC452AC790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latin typeface="Gill Sans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436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2.xml"/><Relationship Id="rId7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69964" y="1113235"/>
            <a:ext cx="7921624" cy="540000"/>
          </a:xfrm>
          <a:prstGeom prst="rect">
            <a:avLst/>
          </a:prstGeom>
        </p:spPr>
        <p:txBody>
          <a:bodyPr lIns="0" tIns="0" anchor="t">
            <a:no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65"/>
            <a:ext cx="9144000" cy="51435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69964" y="4324548"/>
            <a:ext cx="7597774" cy="307777"/>
          </a:xfrm>
        </p:spPr>
        <p:txBody>
          <a:bodyPr wrap="square" anchor="b">
            <a:spAutoFit/>
          </a:bodyPr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969964" y="4906281"/>
            <a:ext cx="2606483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rgbClr val="616365"/>
                </a:solidFill>
              </a:rPr>
              <a:t>© Noser Engineering AG 2016, Alle Rechte vorbehalten.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846597" cy="999661"/>
          </a:xfrm>
          <a:prstGeom prst="rect">
            <a:avLst/>
          </a:prstGeom>
        </p:spPr>
      </p:pic>
      <p:grpSp>
        <p:nvGrpSpPr>
          <p:cNvPr id="52" name="Gruppieren 51"/>
          <p:cNvGrpSpPr/>
          <p:nvPr userDrawn="1"/>
        </p:nvGrpSpPr>
        <p:grpSpPr>
          <a:xfrm>
            <a:off x="-226979" y="-258040"/>
            <a:ext cx="9617413" cy="5680147"/>
            <a:chOff x="-226979" y="-258040"/>
            <a:chExt cx="9617413" cy="5680147"/>
          </a:xfrm>
        </p:grpSpPr>
        <p:cxnSp>
          <p:nvCxnSpPr>
            <p:cNvPr id="53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71615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198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071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011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974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611188" y="1130300"/>
            <a:ext cx="7956550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52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7770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BRANCH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083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611188" y="303213"/>
            <a:ext cx="7956550" cy="681235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611187" y="1130300"/>
            <a:ext cx="3851275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714875" y="1130300"/>
            <a:ext cx="3852863" cy="34925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173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611187" y="1126205"/>
            <a:ext cx="3851275" cy="444600"/>
          </a:xfrm>
        </p:spPr>
        <p:txBody>
          <a:bodyPr>
            <a:no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714875" y="1126205"/>
            <a:ext cx="3852863" cy="444600"/>
          </a:xfrm>
        </p:spPr>
        <p:txBody>
          <a:bodyPr>
            <a:no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611187" y="1729980"/>
            <a:ext cx="3851275" cy="289440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714875" y="1729980"/>
            <a:ext cx="3852863" cy="289440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 bwMode="gray">
          <a:xfrm>
            <a:off x="611188" y="1602944"/>
            <a:ext cx="38512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</p:cNvCxnSpPr>
          <p:nvPr userDrawn="1"/>
        </p:nvCxnSpPr>
        <p:spPr bwMode="gray">
          <a:xfrm>
            <a:off x="4714876" y="1602944"/>
            <a:ext cx="3852862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03202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611187" y="1126205"/>
            <a:ext cx="385127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714875" y="1131888"/>
            <a:ext cx="3852863" cy="276999"/>
          </a:xfrm>
        </p:spPr>
        <p:txBody>
          <a:bodyPr wrap="square">
            <a:sp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611187" y="1515561"/>
            <a:ext cx="3851275" cy="1296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714875" y="1521244"/>
            <a:ext cx="3852863" cy="1296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611187" y="2930575"/>
            <a:ext cx="385127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4714875" y="2930575"/>
            <a:ext cx="3852863" cy="276999"/>
          </a:xfrm>
        </p:spPr>
        <p:txBody>
          <a:bodyPr wrap="square">
            <a:sp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611187" y="3319930"/>
            <a:ext cx="3851275" cy="130445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7"/>
          </p:nvPr>
        </p:nvSpPr>
        <p:spPr bwMode="gray">
          <a:xfrm>
            <a:off x="4714875" y="3319930"/>
            <a:ext cx="3852863" cy="130445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cxnSp>
        <p:nvCxnSpPr>
          <p:cNvPr id="18" name="Straight Connector 17"/>
          <p:cNvCxnSpPr>
            <a:cxnSpLocks/>
          </p:cNvCxnSpPr>
          <p:nvPr userDrawn="1"/>
        </p:nvCxnSpPr>
        <p:spPr bwMode="gray">
          <a:xfrm>
            <a:off x="611188" y="1413465"/>
            <a:ext cx="38512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 userDrawn="1"/>
        </p:nvCxnSpPr>
        <p:spPr bwMode="gray">
          <a:xfrm>
            <a:off x="4714875" y="1413465"/>
            <a:ext cx="3852863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 userDrawn="1"/>
        </p:nvCxnSpPr>
        <p:spPr bwMode="gray">
          <a:xfrm>
            <a:off x="611188" y="3217834"/>
            <a:ext cx="38512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cxnSpLocks/>
          </p:cNvCxnSpPr>
          <p:nvPr userDrawn="1"/>
        </p:nvCxnSpPr>
        <p:spPr bwMode="gray">
          <a:xfrm>
            <a:off x="4714875" y="3217834"/>
            <a:ext cx="3852863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25910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0"/>
          <p:cNvSpPr>
            <a:spLocks noGrp="1"/>
          </p:cNvSpPr>
          <p:nvPr>
            <p:ph type="title" hasCustomPrompt="1"/>
          </p:nvPr>
        </p:nvSpPr>
        <p:spPr>
          <a:xfrm>
            <a:off x="969962" y="1127324"/>
            <a:ext cx="7597776" cy="51182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846597" cy="999661"/>
          </a:xfrm>
          <a:prstGeom prst="rect">
            <a:avLst/>
          </a:prstGeom>
        </p:spPr>
      </p:pic>
      <p:grpSp>
        <p:nvGrpSpPr>
          <p:cNvPr id="29" name="Gruppieren 28"/>
          <p:cNvGrpSpPr/>
          <p:nvPr userDrawn="1"/>
        </p:nvGrpSpPr>
        <p:grpSpPr>
          <a:xfrm>
            <a:off x="-226979" y="-258040"/>
            <a:ext cx="9617413" cy="5680147"/>
            <a:chOff x="-226979" y="-258040"/>
            <a:chExt cx="9617413" cy="5680147"/>
          </a:xfrm>
        </p:grpSpPr>
        <p:cxnSp>
          <p:nvCxnSpPr>
            <p:cNvPr id="30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10"/>
            <p:cNvCxnSpPr/>
            <p:nvPr userDrawn="1"/>
          </p:nvCxnSpPr>
          <p:spPr>
            <a:xfrm flipH="1">
              <a:off x="-226979" y="448470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5"/>
            <p:cNvCxnSpPr/>
            <p:nvPr userDrawn="1"/>
          </p:nvCxnSpPr>
          <p:spPr>
            <a:xfrm flipH="1">
              <a:off x="9234791" y="448470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87106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611187" y="1126205"/>
            <a:ext cx="3851275" cy="461665"/>
          </a:xfrm>
        </p:spPr>
        <p:txBody>
          <a:bodyPr>
            <a:noAutofit/>
          </a:bodyPr>
          <a:lstStyle>
            <a:lvl1pPr marL="0" indent="0">
              <a:buNone/>
              <a:defRPr b="0" baseline="0">
                <a:latin typeface="+mj-lt"/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611187" y="1752474"/>
            <a:ext cx="3851275" cy="287032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14875" y="1131887"/>
            <a:ext cx="3852863" cy="3500437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Foto/Grafik</a:t>
            </a:r>
            <a:endParaRPr lang="en-US" dirty="0"/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 bwMode="gray">
          <a:xfrm>
            <a:off x="611188" y="1625439"/>
            <a:ext cx="38512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6829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025713" y="1131887"/>
            <a:ext cx="4542025" cy="3492501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Foto/Grafik</a:t>
            </a:r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611188" y="1131887"/>
            <a:ext cx="3127188" cy="34925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cxnSp>
        <p:nvCxnSpPr>
          <p:cNvPr id="28" name="Straight Connector 8"/>
          <p:cNvCxnSpPr/>
          <p:nvPr userDrawn="1"/>
        </p:nvCxnSpPr>
        <p:spPr bwMode="gray">
          <a:xfrm>
            <a:off x="3882044" y="1131888"/>
            <a:ext cx="0" cy="350043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2120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611188" y="1131888"/>
            <a:ext cx="7956550" cy="34909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798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611188" y="303213"/>
            <a:ext cx="7956550" cy="681235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1188" y="1126069"/>
            <a:ext cx="1462274" cy="3496731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34757" y="1126069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8326" y="1126069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81895" y="1126069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05464" y="1126069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234757" y="2352434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858326" y="2352434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481895" y="2352434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05464" y="2352434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34757" y="3578800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858326" y="3578800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481895" y="3578800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7105464" y="3578800"/>
            <a:ext cx="1462274" cy="1044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234757" y="1594069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858326" y="1594069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7" name="Text Placehold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481895" y="1594069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105464" y="1594069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234757" y="2820434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858326" y="2820434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481895" y="2820434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7105464" y="2820434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234757" y="4046800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58326" y="4046800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481895" y="4046800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105464" y="4046800"/>
            <a:ext cx="1462274" cy="576000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11188" y="1594068"/>
            <a:ext cx="1462274" cy="3028731"/>
          </a:xfrm>
          <a:noFill/>
        </p:spPr>
        <p:txBody>
          <a:bodyPr lIns="108014" tIns="0" rIns="72009" bIns="72009"/>
          <a:lstStyle>
            <a:lvl1pPr marL="0" indent="0">
              <a:buNone/>
              <a:defRPr sz="1200" b="0"/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140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_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611188" y="303213"/>
            <a:ext cx="7956550" cy="681235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1188" y="1126069"/>
            <a:ext cx="1462274" cy="3496731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34757" y="1126069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8326" y="1126069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81895" y="1126069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05464" y="1126069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234757" y="2352434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858326" y="2352434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481895" y="2352434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105464" y="2352434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34757" y="3578800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858326" y="3578800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481895" y="3578800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7105464" y="3578800"/>
            <a:ext cx="1462274" cy="1044000"/>
          </a:xfrm>
          <a:solidFill>
            <a:srgbClr val="EF7D17"/>
          </a:solidFill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234757" y="1594069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7" name="Text Placehold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858326" y="1594069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481895" y="1594069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105464" y="1594069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234757" y="2820434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858326" y="2820434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481895" y="2820434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7105464" y="2820434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234757" y="4046800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58326" y="4046800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481895" y="4046800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105464" y="4046800"/>
            <a:ext cx="1462274" cy="576000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11188" y="1594069"/>
            <a:ext cx="1462274" cy="3028731"/>
          </a:xfrm>
          <a:solidFill>
            <a:srgbClr val="EF7D17"/>
          </a:solidFill>
        </p:spPr>
        <p:txBody>
          <a:bodyPr lIns="108014" tIns="0" rIns="72009" bIns="72009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8503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to-Action_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11188" y="1125799"/>
            <a:ext cx="7956550" cy="1080000"/>
          </a:xfrm>
          <a:solidFill>
            <a:schemeClr val="accent1"/>
          </a:solidFill>
          <a:ln w="9525">
            <a:noFill/>
          </a:ln>
        </p:spPr>
        <p:txBody>
          <a:bodyPr lIns="1764208" tIns="72009" rIns="72009" bIns="72009" anchor="ctr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1188" y="2334299"/>
            <a:ext cx="7956550" cy="1080000"/>
          </a:xfrm>
          <a:solidFill>
            <a:srgbClr val="EF7D17"/>
          </a:solidFill>
          <a:ln w="9525">
            <a:noFill/>
          </a:ln>
        </p:spPr>
        <p:txBody>
          <a:bodyPr lIns="1764208" tIns="72009" rIns="72009" bIns="72009" anchor="ctr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1188" y="3542800"/>
            <a:ext cx="7956550" cy="1080000"/>
          </a:xfrm>
          <a:solidFill>
            <a:srgbClr val="EF7D17"/>
          </a:solidFill>
          <a:ln w="9525">
            <a:noFill/>
          </a:ln>
        </p:spPr>
        <p:txBody>
          <a:bodyPr lIns="1764208" tIns="72009" rIns="72009" bIns="72009" anchor="ctr"/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611188" y="303213"/>
            <a:ext cx="7956550" cy="681235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701894" y="1212476"/>
            <a:ext cx="1457293" cy="936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en-US" dirty="0" err="1"/>
              <a:t>Bild</a:t>
            </a:r>
            <a:r>
              <a:rPr lang="en-US" dirty="0"/>
              <a:t>/Icon</a:t>
            </a:r>
          </a:p>
        </p:txBody>
      </p:sp>
      <p:sp>
        <p:nvSpPr>
          <p:cNvPr id="58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701894" y="2413638"/>
            <a:ext cx="1457293" cy="936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en-US" dirty="0" err="1"/>
              <a:t>Bild</a:t>
            </a:r>
            <a:r>
              <a:rPr lang="en-US" dirty="0"/>
              <a:t>/Icon</a:t>
            </a:r>
          </a:p>
        </p:txBody>
      </p:sp>
      <p:sp>
        <p:nvSpPr>
          <p:cNvPr id="59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01894" y="3614800"/>
            <a:ext cx="1457293" cy="936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en-US" dirty="0" err="1"/>
              <a:t>Bild</a:t>
            </a:r>
            <a:r>
              <a:rPr lang="en-US" dirty="0"/>
              <a:t>/Ic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318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8589069" y="4867809"/>
            <a:ext cx="302519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786B2-AD40-4FFE-8FD1-BC9391A80177}" type="slidenum">
              <a:rPr lang="en-US" smtClean="0">
                <a:solidFill>
                  <a:schemeClr val="bg1"/>
                </a:solidFill>
              </a:rPr>
              <a:pPr/>
              <a:t>‹Nr.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7956550" cy="3500437"/>
          </a:xfrm>
        </p:spPr>
        <p:txBody>
          <a:bodyPr/>
          <a:lstStyle>
            <a:lvl1pPr marL="0" indent="0">
              <a:buNone/>
              <a:defRPr sz="2800" baseline="0">
                <a:solidFill>
                  <a:schemeClr val="tx1"/>
                </a:solidFill>
              </a:defRPr>
            </a:lvl1pPr>
            <a:lvl2pPr marL="266700" indent="0">
              <a:buNone/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«Hier steht ein Zitat/Statement»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4462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381"/>
            <a:ext cx="9144000" cy="5141119"/>
          </a:xfrm>
          <a:noFill/>
          <a:ln w="9525">
            <a:noFill/>
          </a:ln>
        </p:spPr>
        <p:txBody>
          <a:bodyPr lIns="900000" tIns="864000" rIns="72009" bIns="72009" anchor="t"/>
          <a:lstStyle>
            <a:lvl1pPr marL="0" indent="0" algn="l">
              <a:buNone/>
              <a:defRPr sz="8000" b="0">
                <a:solidFill>
                  <a:schemeClr val="accent1"/>
                </a:solidFill>
                <a:latin typeface="+mj-lt"/>
              </a:defRPr>
            </a:lvl1pPr>
            <a:lvl2pPr marL="266700" indent="0">
              <a:buNone/>
              <a:defRPr sz="1600" b="1"/>
            </a:lvl2pPr>
            <a:lvl3pPr marL="539750" indent="0">
              <a:buNone/>
              <a:defRPr sz="1600" b="1"/>
            </a:lvl3pPr>
            <a:lvl4pPr marL="714375" indent="0">
              <a:buNone/>
              <a:defRPr sz="1600" b="1"/>
            </a:lvl4pPr>
            <a:lvl5pPr marL="898525" indent="0">
              <a:buNone/>
              <a:defRPr sz="1600" b="1"/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58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11188" y="2824163"/>
            <a:ext cx="7956550" cy="369332"/>
          </a:xfrm>
          <a:prstGeom prst="rect">
            <a:avLst/>
          </a:prstGeom>
        </p:spPr>
        <p:txBody>
          <a:bodyPr wrap="square" lIns="0" tIns="0" anchor="t">
            <a:spAutoFit/>
          </a:bodyPr>
          <a:lstStyle>
            <a:lvl1pPr algn="l">
              <a:defRPr sz="2400" b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 bwMode="gray">
          <a:xfrm>
            <a:off x="611188" y="3267255"/>
            <a:ext cx="3835400" cy="2769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11188" y="446088"/>
            <a:ext cx="7956550" cy="2163968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Foto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 bwMode="gray">
          <a:xfrm>
            <a:off x="4714875" y="3267255"/>
            <a:ext cx="3852863" cy="2769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416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64"/>
            <a:ext cx="9142286" cy="514253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4875" y="1553285"/>
            <a:ext cx="3852863" cy="2769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969963" y="1472139"/>
            <a:ext cx="3675062" cy="7386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4000" b="0" dirty="0">
                <a:solidFill>
                  <a:schemeClr val="accent1"/>
                </a:solidFill>
                <a:latin typeface="+mj-lt"/>
              </a:rPr>
              <a:t>Vielen Dank</a:t>
            </a:r>
            <a:br>
              <a:rPr lang="de-DE" b="0" dirty="0">
                <a:solidFill>
                  <a:schemeClr val="accent1"/>
                </a:solidFill>
                <a:latin typeface="+mj-lt"/>
              </a:rPr>
            </a:br>
            <a:r>
              <a:rPr lang="de-DE" b="0" dirty="0">
                <a:solidFill>
                  <a:srgbClr val="404545"/>
                </a:solidFill>
                <a:latin typeface="+mj-lt"/>
              </a:rPr>
              <a:t>für Ihre Aufmerksamkeit!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846597" cy="999661"/>
          </a:xfrm>
          <a:prstGeom prst="rect">
            <a:avLst/>
          </a:prstGeom>
        </p:spPr>
      </p:pic>
      <p:grpSp>
        <p:nvGrpSpPr>
          <p:cNvPr id="50" name="Gruppieren 49"/>
          <p:cNvGrpSpPr/>
          <p:nvPr userDrawn="1"/>
        </p:nvGrpSpPr>
        <p:grpSpPr>
          <a:xfrm>
            <a:off x="-226979" y="-258040"/>
            <a:ext cx="9617413" cy="5680147"/>
            <a:chOff x="-226979" y="-258040"/>
            <a:chExt cx="9617413" cy="5680147"/>
          </a:xfrm>
        </p:grpSpPr>
        <p:cxnSp>
          <p:nvCxnSpPr>
            <p:cNvPr id="51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063724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0"/>
          <p:cNvSpPr>
            <a:spLocks noGrp="1"/>
          </p:cNvSpPr>
          <p:nvPr>
            <p:ph type="title" hasCustomPrompt="1"/>
          </p:nvPr>
        </p:nvSpPr>
        <p:spPr>
          <a:xfrm>
            <a:off x="969962" y="1127324"/>
            <a:ext cx="7597776" cy="51182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846597" cy="999661"/>
          </a:xfrm>
          <a:prstGeom prst="rect">
            <a:avLst/>
          </a:prstGeom>
        </p:spPr>
      </p:pic>
      <p:grpSp>
        <p:nvGrpSpPr>
          <p:cNvPr id="50" name="Gruppieren 49"/>
          <p:cNvGrpSpPr/>
          <p:nvPr userDrawn="1"/>
        </p:nvGrpSpPr>
        <p:grpSpPr>
          <a:xfrm>
            <a:off x="-226979" y="-258040"/>
            <a:ext cx="9617413" cy="5680147"/>
            <a:chOff x="-226979" y="-258040"/>
            <a:chExt cx="9617413" cy="5680147"/>
          </a:xfrm>
        </p:grpSpPr>
        <p:cxnSp>
          <p:nvCxnSpPr>
            <p:cNvPr id="51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6822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695978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13" y="2749"/>
            <a:ext cx="9148613" cy="5146095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/>
          <p:cNvSpPr txBox="1">
            <a:spLocks/>
          </p:cNvSpPr>
          <p:nvPr userDrawn="1"/>
        </p:nvSpPr>
        <p:spPr>
          <a:xfrm rot="9054176">
            <a:off x="1116014" y="1113235"/>
            <a:ext cx="7703987" cy="540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969962" y="1127324"/>
            <a:ext cx="7597776" cy="51182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846597" cy="999661"/>
          </a:xfrm>
          <a:prstGeom prst="rect">
            <a:avLst/>
          </a:prstGeom>
        </p:spPr>
      </p:pic>
      <p:grpSp>
        <p:nvGrpSpPr>
          <p:cNvPr id="52" name="Gruppieren 51"/>
          <p:cNvGrpSpPr/>
          <p:nvPr userDrawn="1"/>
        </p:nvGrpSpPr>
        <p:grpSpPr>
          <a:xfrm>
            <a:off x="-226979" y="-258040"/>
            <a:ext cx="9617413" cy="5680147"/>
            <a:chOff x="-226979" y="-258040"/>
            <a:chExt cx="9617413" cy="5680147"/>
          </a:xfrm>
        </p:grpSpPr>
        <p:cxnSp>
          <p:nvCxnSpPr>
            <p:cNvPr id="53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175963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188" y="303213"/>
            <a:ext cx="7956550" cy="369332"/>
          </a:xfrm>
          <a:prstGeom prst="rect">
            <a:avLst/>
          </a:prstGeom>
        </p:spPr>
        <p:txBody>
          <a:bodyPr wrap="square" lIns="0" tIns="0" anchor="t">
            <a:spAutoFit/>
          </a:bodyPr>
          <a:lstStyle>
            <a:lvl1pPr algn="l">
              <a:defRPr sz="2400" b="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1188" y="4632325"/>
            <a:ext cx="7956550" cy="2769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611188" y="1131892"/>
            <a:ext cx="3835400" cy="2700000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Foto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4875" y="1131888"/>
            <a:ext cx="385445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962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188" y="3775386"/>
            <a:ext cx="7956550" cy="369332"/>
          </a:xfrm>
          <a:prstGeom prst="rect">
            <a:avLst/>
          </a:prstGeom>
        </p:spPr>
        <p:txBody>
          <a:bodyPr wrap="square" lIns="0" tIns="0" anchor="t">
            <a:spAutoFit/>
          </a:bodyPr>
          <a:lstStyle>
            <a:lvl1pPr algn="l">
              <a:defRPr sz="2400" b="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1188" y="4208379"/>
            <a:ext cx="7956550" cy="2769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611188" y="446088"/>
            <a:ext cx="7956550" cy="3247470"/>
          </a:xfr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Foto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033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78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184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113188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18669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1733586"/>
            <a:ext cx="355826" cy="355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104900" y="1788389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2335284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104900" y="2390087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2936982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104900" y="2991785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88" y="3538680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104900" y="3593483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4140378"/>
            <a:ext cx="355826" cy="355826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104900" y="4195181"/>
            <a:ext cx="7462838" cy="246221"/>
          </a:xfrm>
        </p:spPr>
        <p:txBody>
          <a:bodyPr anchor="ctr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76288" y="1601650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76288" y="220334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76288" y="2805046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776288" y="3406744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776288" y="4008442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776288" y="4610138"/>
            <a:ext cx="7791450" cy="1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138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84889832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Folie" r:id="rId35" imgW="270" imgH="270" progId="TCLayout.ActiveDocument.1">
                  <p:embed/>
                </p:oleObj>
              </mc:Choice>
              <mc:Fallback>
                <p:oleObj name="think-cell Folie" r:id="rId3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9846" y="0"/>
            <a:ext cx="3634154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1188" y="303213"/>
            <a:ext cx="7956550" cy="681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lvl="0" algn="l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592275" y="4867809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786B2-AD40-4FFE-8FD1-BC9391A80177}" type="slidenum">
              <a:rPr lang="en-US" smtClean="0">
                <a:solidFill>
                  <a:srgbClr val="616365"/>
                </a:solidFill>
              </a:rPr>
              <a:pPr/>
              <a:t>‹Nr.›</a:t>
            </a:fld>
            <a:endParaRPr lang="en-US" dirty="0">
              <a:solidFill>
                <a:srgbClr val="61636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11188" y="1130299"/>
            <a:ext cx="7956550" cy="34940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26979" y="-258040"/>
            <a:ext cx="9617413" cy="5680147"/>
            <a:chOff x="-226979" y="-258040"/>
            <a:chExt cx="9617413" cy="5680147"/>
          </a:xfrm>
        </p:grpSpPr>
        <p:cxnSp>
          <p:nvCxnSpPr>
            <p:cNvPr id="5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33"/>
    </p:custDataLst>
    <p:extLst>
      <p:ext uri="{BB962C8B-B14F-4D97-AF65-F5344CB8AC3E}">
        <p14:creationId xmlns:p14="http://schemas.microsoft.com/office/powerpoint/2010/main" val="379501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67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7" r:id="rId25"/>
    <p:sldLayoutId id="2147483763" r:id="rId26"/>
    <p:sldLayoutId id="2147483758" r:id="rId27"/>
    <p:sldLayoutId id="2147483761" r:id="rId28"/>
    <p:sldLayoutId id="2147483762" r:id="rId29"/>
    <p:sldLayoutId id="2147483775" r:id="rId30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sldNum="0" hdr="0" dt="0"/>
  <p:txStyles>
    <p:titleStyle>
      <a:lvl1pPr algn="l" defTabSz="914400" rtl="0" eaLnBrk="1" latinLnBrk="0" hangingPunct="1">
        <a:spcBef>
          <a:spcPct val="0"/>
        </a:spcBef>
        <a:buNone/>
        <a:defRPr lang="en-US" sz="2400" b="0" kern="1200" baseline="0" dirty="0" smtClean="0">
          <a:solidFill>
            <a:srgbClr val="404545"/>
          </a:solidFill>
          <a:latin typeface="+mj-lt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lang="en-US" sz="18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1pPr>
      <a:lvl2pPr marL="539750" indent="-273050" algn="l" defTabSz="914400" rtl="0" eaLnBrk="1" latinLnBrk="0" hangingPunct="1">
        <a:spcBef>
          <a:spcPts val="600"/>
        </a:spcBef>
        <a:buFont typeface="Arial" pitchFamily="34" charset="0"/>
        <a:buChar char="–"/>
        <a:defRPr lang="en-US" sz="18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2pPr>
      <a:lvl3pPr marL="714375" indent="-174625" algn="l" defTabSz="914400" rtl="0" eaLnBrk="1" latinLnBrk="0" hangingPunct="1">
        <a:spcBef>
          <a:spcPts val="600"/>
        </a:spcBef>
        <a:buFont typeface="Arial" pitchFamily="34" charset="0"/>
        <a:buChar char="•"/>
        <a:defRPr lang="en-US" sz="18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3pPr>
      <a:lvl4pPr marL="898525" indent="-184150" algn="l" defTabSz="914400" rtl="0" eaLnBrk="1" latinLnBrk="0" hangingPunct="1">
        <a:spcBef>
          <a:spcPts val="600"/>
        </a:spcBef>
        <a:buFont typeface="Arial" pitchFamily="34" charset="0"/>
        <a:buChar char="–"/>
        <a:defRPr lang="en-US" sz="18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4pPr>
      <a:lvl5pPr marL="1071563" indent="-173038" algn="l" defTabSz="914400" rtl="0" eaLnBrk="1" latinLnBrk="0" hangingPunct="1">
        <a:spcBef>
          <a:spcPts val="600"/>
        </a:spcBef>
        <a:buFont typeface="Arial" pitchFamily="34" charset="0"/>
        <a:buChar char="»"/>
        <a:defRPr lang="en-US" sz="18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13" userDrawn="1">
          <p15:clr>
            <a:srgbClr val="F26B43"/>
          </p15:clr>
        </p15:guide>
        <p15:guide id="2" pos="385" userDrawn="1">
          <p15:clr>
            <a:srgbClr val="F26B43"/>
          </p15:clr>
        </p15:guide>
        <p15:guide id="3" pos="612" userDrawn="1">
          <p15:clr>
            <a:srgbClr val="F26B43"/>
          </p15:clr>
        </p15:guide>
        <p15:guide id="4" pos="2812" userDrawn="1">
          <p15:clr>
            <a:srgbClr val="F26B43"/>
          </p15:clr>
        </p15:guide>
        <p15:guide id="5" pos="2971" userDrawn="1">
          <p15:clr>
            <a:srgbClr val="F26B43"/>
          </p15:clr>
        </p15:guide>
        <p15:guide id="6" pos="5397" userDrawn="1">
          <p15:clr>
            <a:srgbClr val="F26B43"/>
          </p15:clr>
        </p15:guide>
        <p15:guide id="9" orient="horz" pos="713" userDrawn="1">
          <p15:clr>
            <a:srgbClr val="F26B43"/>
          </p15:clr>
        </p15:guide>
        <p15:guide id="10" orient="horz" pos="3094" userDrawn="1">
          <p15:clr>
            <a:srgbClr val="F26B43"/>
          </p15:clr>
        </p15:guide>
        <p15:guide id="11" orient="horz" pos="1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Damien.bowden@noser.com" TargetMode="Externa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dotnet/standard/net-standard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hyperlink" Target="https://github.com/dotnet/standard/blob/master/docs/faq.md" TargetMode="External"/><Relationship Id="rId5" Type="http://schemas.openxmlformats.org/officeDocument/2006/relationships/hyperlink" Target="https://github.com/dotnet/standard/blob/master/docs/versions.md" TargetMode="External"/><Relationship Id="rId4" Type="http://schemas.openxmlformats.org/officeDocument/2006/relationships/hyperlink" Target="https://msdn.microsoft.com/en-us/magazine/mt842506.aspx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620615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CH" dirty="0">
                <a:solidFill>
                  <a:srgbClr val="EF7D17"/>
                </a:solidFill>
              </a:rPr>
              <a:t>.NET Standar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969964" y="4016772"/>
            <a:ext cx="7597774" cy="615553"/>
          </a:xfrm>
        </p:spPr>
        <p:txBody>
          <a:bodyPr/>
          <a:lstStyle/>
          <a:p>
            <a:r>
              <a:rPr lang="de-DE" dirty="0"/>
              <a:t>Damien Bowden</a:t>
            </a:r>
            <a:br>
              <a:rPr lang="de-DE" dirty="0"/>
            </a:br>
            <a:r>
              <a:rPr lang="de-DE" dirty="0" err="1"/>
              <a:t>January</a:t>
            </a:r>
            <a:r>
              <a:rPr lang="de-DE" dirty="0"/>
              <a:t> 2018</a:t>
            </a:r>
            <a:endParaRPr lang="en-US" dirty="0"/>
          </a:p>
        </p:txBody>
      </p:sp>
      <p:sp>
        <p:nvSpPr>
          <p:cNvPr id="3" name="BainBulletsConfiguration" hidden="1"/>
          <p:cNvSpPr txBox="1"/>
          <p:nvPr/>
        </p:nvSpPr>
        <p:spPr bwMode="gray">
          <a:xfrm>
            <a:off x="12700" y="9525"/>
            <a:ext cx="8890000" cy="153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6700" indent="-26670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00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827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BA0AFE3-4E1D-4638-8484-854834A70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988" y="1263990"/>
            <a:ext cx="8283388" cy="2969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432356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Where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it</a:t>
            </a:r>
            <a:endParaRPr lang="de-CH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68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73437FB-8398-49A3-88BD-FBF4CC9553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810" y="614089"/>
            <a:ext cx="7916380" cy="391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0442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em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039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evelopment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2039D32-CA22-4D8A-9170-CD7D242A30F7}"/>
              </a:ext>
            </a:extLst>
          </p:cNvPr>
          <p:cNvSpPr txBox="1"/>
          <p:nvPr/>
        </p:nvSpPr>
        <p:spPr>
          <a:xfrm>
            <a:off x="1432112" y="2225488"/>
            <a:ext cx="5694829" cy="12926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Visual Studio 2017</a:t>
            </a:r>
          </a:p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Visual Studio Code </a:t>
            </a:r>
          </a:p>
          <a:p>
            <a:pPr marL="266700" indent="-2667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Visual Studio for Mac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19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14875" y="1553285"/>
            <a:ext cx="3852863" cy="569387"/>
          </a:xfrm>
        </p:spPr>
        <p:txBody>
          <a:bodyPr/>
          <a:lstStyle/>
          <a:p>
            <a:r>
              <a:rPr lang="en-US" sz="1600" dirty="0"/>
              <a:t>Damien Bowden</a:t>
            </a:r>
          </a:p>
          <a:p>
            <a:r>
              <a:rPr lang="en-US" sz="1600" dirty="0">
                <a:hlinkClick r:id="rId3"/>
              </a:rPr>
              <a:t>Damien.bowden@noser.com</a:t>
            </a:r>
            <a:endParaRPr lang="en-US" sz="1600" dirty="0"/>
          </a:p>
        </p:txBody>
      </p:sp>
      <p:sp>
        <p:nvSpPr>
          <p:cNvPr id="3" name="BainBulletsConfiguration" hidden="1"/>
          <p:cNvSpPr txBox="1"/>
          <p:nvPr/>
        </p:nvSpPr>
        <p:spPr bwMode="gray">
          <a:xfrm>
            <a:off x="12700" y="9525"/>
            <a:ext cx="8890000" cy="153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6700" indent="-26670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3717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1">
            <a:extLst>
              <a:ext uri="{FF2B5EF4-FFF2-40B4-BE49-F238E27FC236}">
                <a16:creationId xmlns:a16="http://schemas.microsoft.com/office/drawing/2014/main" id="{C95C921D-3BB5-4FF9-94DD-1A1F41DD9C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>
                <a:sym typeface="Gill Sans" charset="0"/>
              </a:rPr>
              <a:t>Sources</a:t>
            </a:r>
          </a:p>
        </p:txBody>
      </p:sp>
      <p:sp>
        <p:nvSpPr>
          <p:cNvPr id="39939" name="Rectangle 2">
            <a:extLst>
              <a:ext uri="{FF2B5EF4-FFF2-40B4-BE49-F238E27FC236}">
                <a16:creationId xmlns:a16="http://schemas.microsoft.com/office/drawing/2014/main" id="{2BB017EA-415B-407D-9B9B-0CD9A7BAB1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374457" y="1037272"/>
            <a:ext cx="6386513" cy="3557588"/>
          </a:xfrm>
        </p:spPr>
        <p:txBody>
          <a:bodyPr/>
          <a:lstStyle/>
          <a:p>
            <a:pPr marL="471488">
              <a:lnSpc>
                <a:spcPct val="90000"/>
              </a:lnSpc>
              <a:spcBef>
                <a:spcPts val="945"/>
              </a:spcBef>
              <a:buFont typeface="Lucida Grande" charset="0"/>
              <a:buChar char="•"/>
              <a:defRPr/>
            </a:pPr>
            <a:r>
              <a:rPr lang="en-US" sz="2160" dirty="0">
                <a:sym typeface="Gill Sans" charset="0"/>
                <a:hlinkClick r:id="rId3"/>
              </a:rPr>
              <a:t>https://docs.microsoft.com/en-us/dotnet/standard/net-standard</a:t>
            </a:r>
            <a:endParaRPr lang="en-US" sz="2160" dirty="0">
              <a:sym typeface="Gill Sans" charset="0"/>
            </a:endParaRPr>
          </a:p>
          <a:p>
            <a:pPr marL="471488">
              <a:lnSpc>
                <a:spcPct val="90000"/>
              </a:lnSpc>
              <a:spcBef>
                <a:spcPts val="945"/>
              </a:spcBef>
              <a:buFont typeface="Lucida Grande" charset="0"/>
              <a:buChar char="•"/>
              <a:defRPr/>
            </a:pPr>
            <a:r>
              <a:rPr lang="en-US" sz="2160" dirty="0">
                <a:sym typeface="Gill Sans" charset="0"/>
                <a:hlinkClick r:id="rId4"/>
              </a:rPr>
              <a:t>https://msdn.microsoft.com/en-us/magazine/mt842506.aspx</a:t>
            </a:r>
            <a:endParaRPr lang="en-US" sz="2160" dirty="0">
              <a:sym typeface="Gill Sans" charset="0"/>
            </a:endParaRPr>
          </a:p>
          <a:p>
            <a:pPr marL="471488">
              <a:lnSpc>
                <a:spcPct val="90000"/>
              </a:lnSpc>
              <a:spcBef>
                <a:spcPts val="945"/>
              </a:spcBef>
              <a:buFont typeface="Lucida Grande" charset="0"/>
              <a:buChar char="•"/>
              <a:defRPr/>
            </a:pPr>
            <a:r>
              <a:rPr lang="en-US" sz="2160" dirty="0">
                <a:sym typeface="Gill Sans" charset="0"/>
                <a:hlinkClick r:id="rId5"/>
              </a:rPr>
              <a:t>https://github.com/dotnet/standard/blob/master/docs/versions.md</a:t>
            </a:r>
            <a:endParaRPr lang="en-US" sz="2160" dirty="0">
              <a:sym typeface="Gill Sans" charset="0"/>
            </a:endParaRPr>
          </a:p>
          <a:p>
            <a:pPr marL="471488">
              <a:lnSpc>
                <a:spcPct val="90000"/>
              </a:lnSpc>
              <a:spcBef>
                <a:spcPts val="945"/>
              </a:spcBef>
              <a:buFont typeface="Lucida Grande" charset="0"/>
              <a:buChar char="•"/>
              <a:defRPr/>
            </a:pPr>
            <a:r>
              <a:rPr lang="en-US" sz="2160" dirty="0">
                <a:sym typeface="Gill Sans" charset="0"/>
                <a:hlinkClick r:id="rId6"/>
              </a:rPr>
              <a:t>https://github.com/dotnet/standard/blob/master/docs/faq.md</a:t>
            </a:r>
            <a:endParaRPr lang="en-US" sz="2160" dirty="0">
              <a:sym typeface="Gill Sans" charset="0"/>
            </a:endParaRPr>
          </a:p>
          <a:p>
            <a:pPr marL="471488">
              <a:lnSpc>
                <a:spcPct val="90000"/>
              </a:lnSpc>
              <a:spcBef>
                <a:spcPts val="945"/>
              </a:spcBef>
              <a:buFont typeface="Lucida Grande" charset="0"/>
              <a:buChar char="•"/>
              <a:defRPr/>
            </a:pPr>
            <a:endParaRPr lang="en-US" sz="2160" dirty="0"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47566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5512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genda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.NET Standard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/>
          </p:nvPr>
        </p:nvSpPr>
        <p:spPr>
          <a:xfrm>
            <a:off x="1104900" y="1827125"/>
            <a:ext cx="7462838" cy="246221"/>
          </a:xfrm>
        </p:spPr>
        <p:txBody>
          <a:bodyPr/>
          <a:lstStyle/>
          <a:p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Demo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9525"/>
            <a:ext cx="8890000" cy="153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6700" indent="-26670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00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7626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.NET Standar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341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3700F384-46D4-4841-99B6-4FD88BAA8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803" y="1294479"/>
            <a:ext cx="5998758" cy="2554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NET Standard is a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000" dirty="0">
                <a:latin typeface="+mj-lt"/>
              </a:rPr>
              <a:t>specification of .NET APIs</a:t>
            </a: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which can be implemente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4784392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3700F384-46D4-4841-99B6-4FD88BAA8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803" y="1602254"/>
            <a:ext cx="6856364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NET Framework</a:t>
            </a:r>
            <a:r>
              <a:rPr lang="en-US" altLang="en-US" sz="4000" dirty="0">
                <a:latin typeface="+mj-lt"/>
              </a:rPr>
              <a:t>, </a:t>
            </a: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Xamarin</a:t>
            </a:r>
            <a:r>
              <a:rPr lang="en-US" altLang="en-US" sz="4000" dirty="0">
                <a:latin typeface="+mj-lt"/>
              </a:rPr>
              <a:t> and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4000" dirty="0">
                <a:latin typeface="+mj-lt"/>
              </a:rPr>
              <a:t>.NET </a:t>
            </a: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ore are implementation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4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of .NET Standard</a:t>
            </a:r>
          </a:p>
        </p:txBody>
      </p:sp>
    </p:spTree>
    <p:extLst>
      <p:ext uri="{BB962C8B-B14F-4D97-AF65-F5344CB8AC3E}">
        <p14:creationId xmlns:p14="http://schemas.microsoft.com/office/powerpoint/2010/main" val="109259891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C29CC02-0B56-42D3-866E-48089ED93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073" y="266378"/>
            <a:ext cx="8449854" cy="4610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59652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2BF8DFAF-10A7-43E6-AC30-CE22F1950A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546" y="271141"/>
            <a:ext cx="8468907" cy="4601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609746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ADFBF61-1157-4692-A568-8DD71CB6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3101" y="333062"/>
            <a:ext cx="6077798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9582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A3C821B-68AE-43D5-8ACE-DAE7D4A673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761" y="1259099"/>
            <a:ext cx="8094477" cy="2923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3307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2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ARTICULATE_SLIDE_THUMBNAIL_REFRESH" val="1"/>
  <p:tag name="THINKCELLUNDODONOTDELETE" val="0"/>
  <p:tag name="ARTICULATE_PROJECT_OPEN" val="0"/>
  <p:tag name="ARTICULATE_SLIDE_COUNT" val="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Vorlage-Noser-Engineering-Praesentation-V-009-E">
  <a:themeElements>
    <a:clrScheme name="Noser Farben">
      <a:dk1>
        <a:srgbClr val="404545"/>
      </a:dk1>
      <a:lt1>
        <a:sysClr val="window" lastClr="FFFFFF"/>
      </a:lt1>
      <a:dk2>
        <a:srgbClr val="FFE70F"/>
      </a:dk2>
      <a:lt2>
        <a:srgbClr val="E0E1DD"/>
      </a:lt2>
      <a:accent1>
        <a:srgbClr val="EF7D17"/>
      </a:accent1>
      <a:accent2>
        <a:srgbClr val="404545"/>
      </a:accent2>
      <a:accent3>
        <a:srgbClr val="616365"/>
      </a:accent3>
      <a:accent4>
        <a:srgbClr val="878786"/>
      </a:accent4>
      <a:accent5>
        <a:srgbClr val="E0E1DD"/>
      </a:accent5>
      <a:accent6>
        <a:srgbClr val="FFE70F"/>
      </a:accent6>
      <a:hlink>
        <a:srgbClr val="616365"/>
      </a:hlink>
      <a:folHlink>
        <a:srgbClr val="878786"/>
      </a:folHlink>
    </a:clrScheme>
    <a:fontScheme name="Noser_Schrift">
      <a:majorFont>
        <a:latin typeface="Trade Gothic LT Std Bold"/>
        <a:ea typeface=""/>
        <a:cs typeface=""/>
      </a:majorFont>
      <a:minorFont>
        <a:latin typeface="Trade Gothic LT St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marL="266700" indent="-266700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ff3988df721c452cbd800811ba45b4e3 xmlns="93f35a41-85d2-4946-96dc-7aeaa62d497e">
      <Terms xmlns="http://schemas.microsoft.com/office/infopath/2007/PartnerControls"/>
    </ff3988df721c452cbd800811ba45b4e3>
    <Prozessbereich xmlns="93f35a41-85d2-4946-96dc-7aeaa62d497e">Unterstützende Prozesse</Prozessbereich>
    <TaxCatchAll xmlns="93f35a41-85d2-4946-96dc-7aeaa62d497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3F8D6893928C4CAB634C70CE78EA71" ma:contentTypeVersion="11" ma:contentTypeDescription="Create a new document." ma:contentTypeScope="" ma:versionID="dec3029c111e22222f9d70a306db6feb">
  <xsd:schema xmlns:xsd="http://www.w3.org/2001/XMLSchema" xmlns:xs="http://www.w3.org/2001/XMLSchema" xmlns:p="http://schemas.microsoft.com/office/2006/metadata/properties" xmlns:ns2="93f35a41-85d2-4946-96dc-7aeaa62d497e" targetNamespace="http://schemas.microsoft.com/office/2006/metadata/properties" ma:root="true" ma:fieldsID="2c2f302e34906c95f67f815ca759bcb9" ns2:_="">
    <xsd:import namespace="93f35a41-85d2-4946-96dc-7aeaa62d497e"/>
    <xsd:element name="properties">
      <xsd:complexType>
        <xsd:sequence>
          <xsd:element name="documentManagement">
            <xsd:complexType>
              <xsd:all>
                <xsd:element ref="ns2:ff3988df721c452cbd800811ba45b4e3" minOccurs="0"/>
                <xsd:element ref="ns2:TaxCatchAll" minOccurs="0"/>
                <xsd:element ref="ns2:Prozessbereic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f35a41-85d2-4946-96dc-7aeaa62d497e" elementFormDefault="qualified">
    <xsd:import namespace="http://schemas.microsoft.com/office/2006/documentManagement/types"/>
    <xsd:import namespace="http://schemas.microsoft.com/office/infopath/2007/PartnerControls"/>
    <xsd:element name="ff3988df721c452cbd800811ba45b4e3" ma:index="9" nillable="true" ma:taxonomy="true" ma:internalName="ff3988df721c452cbd800811ba45b4e3" ma:taxonomyFieldName="Portfolio_x0020_Tags" ma:displayName="Tags" ma:readOnly="false" ma:default="" ma:fieldId="{ff3988df-721c-452c-bd80-0811ba45b4e3}" ma:taxonomyMulti="true" ma:sspId="3b750ec7-56f5-46f6-8a31-692781fad2d3" ma:termSetId="40ea6b68-9430-4643-856d-7615c5a76a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2a687ca-e7c5-4b9b-a66f-5c488bddaaf7}" ma:internalName="TaxCatchAll" ma:showField="CatchAllData" ma:web="93f35a41-85d2-4946-96dc-7aeaa62d49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ozessbereich" ma:index="11" nillable="true" ma:displayName="Prozessbereich" ma:default="Management" ma:format="Dropdown" ma:internalName="Prozessbereich">
      <xsd:simpleType>
        <xsd:restriction base="dms:Choice">
          <xsd:enumeration value="Management"/>
          <xsd:enumeration value="Personalmanagement"/>
          <xsd:enumeration value="Leistungserbringung"/>
          <xsd:enumeration value="Unterstützende Prozesse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B85D85-65A5-4999-95EA-3F14B8234865}">
  <ds:schemaRefs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93f35a41-85d2-4946-96dc-7aeaa62d497e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1197AE7-3BEC-45CE-B6FC-EB534A76C9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71F32F-E547-433F-94E4-100AE44B03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3f35a41-85d2-4946-96dc-7aeaa62d49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9</Words>
  <Application>Microsoft Office PowerPoint</Application>
  <PresentationFormat>Bildschirmpräsentation (16:9)</PresentationFormat>
  <Paragraphs>38</Paragraphs>
  <Slides>16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6" baseType="lpstr">
      <vt:lpstr>MS PGothic</vt:lpstr>
      <vt:lpstr>Arial</vt:lpstr>
      <vt:lpstr>Calibri</vt:lpstr>
      <vt:lpstr>Gill Sans</vt:lpstr>
      <vt:lpstr>Lucida Grande</vt:lpstr>
      <vt:lpstr>Trade Gothic LT Std</vt:lpstr>
      <vt:lpstr>Trade Gothic LT Std Bold</vt:lpstr>
      <vt:lpstr>ヒラギノ角ゴ Pro W3</vt:lpstr>
      <vt:lpstr>4_Vorlage-Noser-Engineering-Praesentation-V-009-E</vt:lpstr>
      <vt:lpstr>think-cell Folie</vt:lpstr>
      <vt:lpstr>.NET Standard</vt:lpstr>
      <vt:lpstr>Agenda</vt:lpstr>
      <vt:lpstr>What is .NET Standar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here can you use it</vt:lpstr>
      <vt:lpstr>PowerPoint-Präsentation</vt:lpstr>
      <vt:lpstr>Demo</vt:lpstr>
      <vt:lpstr>Development</vt:lpstr>
      <vt:lpstr>PowerPoint-Präsentation</vt:lpstr>
      <vt:lpstr>Sources</vt:lpstr>
    </vt:vector>
  </TitlesOfParts>
  <Company>i-pointing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-für-Alumni-Anlässe-Kontaktgespräche</dc:title>
  <dc:creator>i-pointing</dc:creator>
  <cp:lastModifiedBy>Bowden Damien</cp:lastModifiedBy>
  <cp:revision>488</cp:revision>
  <cp:lastPrinted>2014-07-24T09:32:04Z</cp:lastPrinted>
  <dcterms:created xsi:type="dcterms:W3CDTF">2014-03-17T07:23:46Z</dcterms:created>
  <dcterms:modified xsi:type="dcterms:W3CDTF">2018-01-28T10:3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238C019-126E-4FD6-BF2A-A3910B9E3C72</vt:lpwstr>
  </property>
  <property fmtid="{D5CDD505-2E9C-101B-9397-08002B2CF9AE}" pid="3" name="ArticulatePath">
    <vt:lpwstr>Noser_Template</vt:lpwstr>
  </property>
  <property fmtid="{D5CDD505-2E9C-101B-9397-08002B2CF9AE}" pid="4" name="ContentTypeId">
    <vt:lpwstr>0x0101009E3F8D6893928C4CAB634C70CE78EA71</vt:lpwstr>
  </property>
  <property fmtid="{D5CDD505-2E9C-101B-9397-08002B2CF9AE}" pid="5" name="Portfolio_x0020_Tags">
    <vt:lpwstr/>
  </property>
  <property fmtid="{D5CDD505-2E9C-101B-9397-08002B2CF9AE}" pid="6" name="Portfolio Tags">
    <vt:lpwstr/>
  </property>
  <property fmtid="{D5CDD505-2E9C-101B-9397-08002B2CF9AE}" pid="7" name="WorkflowChangePath">
    <vt:lpwstr>6a7699d5-b9a6-48e4-8f08-d60c02848e38,5;5d264783-9d6b-42b8-b6a2-44030b93cb0e,17;5d264783-9d6b-42b8-b6a2-44030b93cb0e,23;89877fd5-62a6-4eee-b87b-110c61329ce9,50;89877fd5-62a6-4eee-b87b-110c61329ce9,53;</vt:lpwstr>
  </property>
  <property fmtid="{D5CDD505-2E9C-101B-9397-08002B2CF9AE}" pid="8" name="Branchen">
    <vt:lpwstr/>
  </property>
  <property fmtid="{D5CDD505-2E9C-101B-9397-08002B2CF9AE}" pid="9" name="j27f32ae1b8446f697d165cb21ec59e2">
    <vt:lpwstr/>
  </property>
  <property fmtid="{D5CDD505-2E9C-101B-9397-08002B2CF9AE}" pid="10" name="cf4ef137c24146c18241e12b0481920f">
    <vt:lpwstr/>
  </property>
  <property fmtid="{D5CDD505-2E9C-101B-9397-08002B2CF9AE}" pid="11" name="f84909c305f34750ad34d478b4ef8334">
    <vt:lpwstr/>
  </property>
  <property fmtid="{D5CDD505-2E9C-101B-9397-08002B2CF9AE}" pid="12" name="Niederlassung">
    <vt:lpwstr/>
  </property>
  <property fmtid="{D5CDD505-2E9C-101B-9397-08002B2CF9AE}" pid="13" name="Technologie und Skill Definitionen">
    <vt:lpwstr/>
  </property>
  <property fmtid="{D5CDD505-2E9C-101B-9397-08002B2CF9AE}" pid="14" name="Dienstleistungen">
    <vt:lpwstr/>
  </property>
  <property fmtid="{D5CDD505-2E9C-101B-9397-08002B2CF9AE}" pid="15" name="kc505a0f9a0e4c99a9d900fbc0f82d4a">
    <vt:lpwstr/>
  </property>
  <property fmtid="{D5CDD505-2E9C-101B-9397-08002B2CF9AE}" pid="16" name="ge5470818ebc4ded9d819c900f29a158">
    <vt:lpwstr/>
  </property>
  <property fmtid="{D5CDD505-2E9C-101B-9397-08002B2CF9AE}" pid="17" name="Firma">
    <vt:lpwstr/>
  </property>
  <property fmtid="{D5CDD505-2E9C-101B-9397-08002B2CF9AE}" pid="18" name="f94b7594a1ac4798a11c7e09e11cc58c">
    <vt:lpwstr/>
  </property>
  <property fmtid="{D5CDD505-2E9C-101B-9397-08002B2CF9AE}" pid="19" name="aff6c6d0eeb0473f8d46e5d22a473793">
    <vt:lpwstr/>
  </property>
  <property fmtid="{D5CDD505-2E9C-101B-9397-08002B2CF9AE}" pid="20" name="Knowhow Center">
    <vt:lpwstr/>
  </property>
  <property fmtid="{D5CDD505-2E9C-101B-9397-08002B2CF9AE}" pid="21" name="Technologien">
    <vt:lpwstr/>
  </property>
</Properties>
</file>